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84" r:id="rId2"/>
    <p:sldMasterId id="2147483721" r:id="rId3"/>
  </p:sldMasterIdLst>
  <p:notesMasterIdLst>
    <p:notesMasterId r:id="rId19"/>
  </p:notesMasterIdLst>
  <p:sldIdLst>
    <p:sldId id="4742" r:id="rId4"/>
    <p:sldId id="4741" r:id="rId5"/>
    <p:sldId id="4735" r:id="rId6"/>
    <p:sldId id="4500" r:id="rId7"/>
    <p:sldId id="4529" r:id="rId8"/>
    <p:sldId id="4562" r:id="rId9"/>
    <p:sldId id="4734" r:id="rId10"/>
    <p:sldId id="4733" r:id="rId11"/>
    <p:sldId id="4736" r:id="rId12"/>
    <p:sldId id="4737" r:id="rId13"/>
    <p:sldId id="4738" r:id="rId14"/>
    <p:sldId id="4739" r:id="rId15"/>
    <p:sldId id="4740" r:id="rId16"/>
    <p:sldId id="4743" r:id="rId17"/>
    <p:sldId id="3838" r:id="rId18"/>
  </p:sldIdLst>
  <p:sldSz cx="12192000" cy="6858000"/>
  <p:notesSz cx="6858000" cy="9144000"/>
  <p:defaultTextStyle>
    <a:defPPr>
      <a:defRPr lang="en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70089"/>
    <a:srgbClr val="439895"/>
    <a:srgbClr val="134C46"/>
    <a:srgbClr val="40928F"/>
    <a:srgbClr val="3A70AD"/>
    <a:srgbClr val="1A418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575"/>
    <p:restoredTop sz="88235"/>
  </p:normalViewPr>
  <p:slideViewPr>
    <p:cSldViewPr snapToGrid="0">
      <p:cViewPr varScale="1">
        <p:scale>
          <a:sx n="87" d="100"/>
          <a:sy n="87" d="100"/>
        </p:scale>
        <p:origin x="208" y="4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C3B4642-C663-794C-B2BD-89607E8159F7}" type="datetimeFigureOut">
              <a:t>03.11.2022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0AEB458-E455-0246-B047-0C59664CAF86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34385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– </a:t>
            </a:r>
            <a:r>
              <a:rPr kumimoji="0" lang="en-GB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nere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GB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luminiumproduksjon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– </a:t>
            </a:r>
            <a:r>
              <a:rPr kumimoji="0" lang="en-GB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tflagging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GB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v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GB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gnesiumproduksjon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– </a:t>
            </a:r>
            <a:r>
              <a:rPr kumimoji="0" lang="en-GB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nere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GB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alpeterproduksjon</a:t>
            </a: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AEB458-E455-0246-B047-0C59664CAF86}" type="slidenum"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72385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1.bin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6FE310-B303-3549-8CD9-1BBFDB3E26F7}" type="datetimeFigureOut">
              <a:rPr lang="en-US" smtClean="0"/>
              <a:t>11/3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7112CE-54A8-8E45-B638-842430DF85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54623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6FE310-B303-3549-8CD9-1BBFDB3E26F7}" type="datetimeFigureOut">
              <a:rPr lang="en-US" smtClean="0"/>
              <a:t>11/3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7112CE-54A8-8E45-B638-842430DF85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65279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06376"/>
            <a:ext cx="2743200" cy="4387851"/>
          </a:xfrm>
        </p:spPr>
        <p:txBody>
          <a:bodyPr vert="eaVert"/>
          <a:lstStyle/>
          <a:p>
            <a:r>
              <a:rPr lang="nb-NO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06376"/>
            <a:ext cx="8026400" cy="4387851"/>
          </a:xfrm>
        </p:spPr>
        <p:txBody>
          <a:bodyPr vert="eaVert"/>
          <a:lstStyle/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6FE310-B303-3549-8CD9-1BBFDB3E26F7}" type="datetimeFigureOut">
              <a:rPr lang="en-US" smtClean="0"/>
              <a:t>11/3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7112CE-54A8-8E45-B638-842430DF85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44995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720091" y="1912861"/>
            <a:ext cx="5280000" cy="42799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192091" y="1912861"/>
            <a:ext cx="5280000" cy="42799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C3C1F9-C23B-6B4C-8F9A-517CD16D699E}" type="slidenum">
              <a:rPr lang="nb-NO"/>
              <a:pPr>
                <a:defRPr/>
              </a:pPr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3469600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sdeler [#1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720091" y="1912861"/>
            <a:ext cx="5280000" cy="42799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192091" y="1912859"/>
            <a:ext cx="5280000" cy="207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6192091" y="4122775"/>
            <a:ext cx="5280000" cy="207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93D952-81E5-864C-BBBA-8A2D776B1DE8}" type="slidenum">
              <a:rPr lang="nb-NO"/>
              <a:pPr>
                <a:defRPr/>
              </a:pPr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460011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sdeler [#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1"/>
            <a:ext cx="5280000" cy="42799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720091" y="1912859"/>
            <a:ext cx="5280000" cy="207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720091" y="4122775"/>
            <a:ext cx="5280000" cy="207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C352C3-832A-244E-A9EB-7FFD9491F5B2}" type="slidenum">
              <a:rPr lang="nb-NO"/>
              <a:pPr>
                <a:defRPr/>
              </a:pPr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594351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sdeler [#3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0"/>
            <a:ext cx="5280000" cy="207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720091" y="1912859"/>
            <a:ext cx="5280000" cy="207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720091" y="4122775"/>
            <a:ext cx="10752000" cy="207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825C71-42EF-5D4F-80F0-80C4BBFEB69E}" type="slidenum">
              <a:rPr lang="nb-NO"/>
              <a:pPr>
                <a:defRPr/>
              </a:pPr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988423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sdeler [#4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0"/>
            <a:ext cx="5280000" cy="207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720091" y="1912859"/>
            <a:ext cx="5280000" cy="207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720091" y="4122775"/>
            <a:ext cx="5280000" cy="207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0" name="Plassholder for innhold 2"/>
          <p:cNvSpPr>
            <a:spLocks noGrp="1"/>
          </p:cNvSpPr>
          <p:nvPr>
            <p:ph idx="15"/>
          </p:nvPr>
        </p:nvSpPr>
        <p:spPr>
          <a:xfrm>
            <a:off x="6193615" y="4122775"/>
            <a:ext cx="5280000" cy="207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46B715-8FE6-A447-A32D-390F183C37B9}" type="slidenum">
              <a:rPr lang="nb-NO"/>
              <a:pPr>
                <a:defRPr/>
              </a:pPr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749111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/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38100" imgH="38100" progId="">
                  <p:embed/>
                </p:oleObj>
              </mc:Choice>
              <mc:Fallback>
                <p:oleObj name="think-cell Slide" r:id="rId2" imgW="38100" imgH="38100" progId="">
                  <p:embed/>
                  <p:pic>
                    <p:nvPicPr>
                      <p:cNvPr id="7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4688" y="1935883"/>
            <a:ext cx="5275301" cy="52156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ts val="1800"/>
              </a:lnSpc>
              <a:buNone/>
              <a:defRPr sz="16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3" name="Plassholder for innhold 2"/>
          <p:cNvSpPr>
            <a:spLocks noGrp="1"/>
          </p:cNvSpPr>
          <p:nvPr>
            <p:ph idx="13"/>
          </p:nvPr>
        </p:nvSpPr>
        <p:spPr>
          <a:xfrm>
            <a:off x="720091" y="2590915"/>
            <a:ext cx="5280000" cy="36019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4" name="Plassholder for tekst 2"/>
          <p:cNvSpPr>
            <a:spLocks noGrp="1"/>
          </p:cNvSpPr>
          <p:nvPr>
            <p:ph type="body" idx="14"/>
          </p:nvPr>
        </p:nvSpPr>
        <p:spPr>
          <a:xfrm>
            <a:off x="6196688" y="1935883"/>
            <a:ext cx="5275301" cy="52156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ts val="1800"/>
              </a:lnSpc>
              <a:buNone/>
              <a:defRPr sz="16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5" name="Plassholder for innhold 2"/>
          <p:cNvSpPr>
            <a:spLocks noGrp="1"/>
          </p:cNvSpPr>
          <p:nvPr>
            <p:ph idx="15"/>
          </p:nvPr>
        </p:nvSpPr>
        <p:spPr>
          <a:xfrm>
            <a:off x="6192091" y="2590915"/>
            <a:ext cx="5280000" cy="36019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8" name="Plassholder for lysbildenumm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EBB9C0-3992-A640-B518-799E40A678E9}" type="slidenum">
              <a:rPr lang="nb-NO"/>
              <a:pPr>
                <a:defRPr/>
              </a:pPr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4745792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33401" y="1912863"/>
            <a:ext cx="5466691" cy="4279915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192091" y="1912863"/>
            <a:ext cx="5280000" cy="4279915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464889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 og 3 innholdsdeler [#1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33401" y="1912863"/>
            <a:ext cx="5466691" cy="4279915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192091" y="1912859"/>
            <a:ext cx="5280000" cy="207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6192091" y="4122775"/>
            <a:ext cx="5280000" cy="207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9146745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6FE310-B303-3549-8CD9-1BBFDB3E26F7}" type="datetimeFigureOut">
              <a:rPr lang="en-US" smtClean="0"/>
              <a:t>11/3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7112CE-54A8-8E45-B638-842430DF85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2023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 og 3 innholdsdeler [#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3"/>
            <a:ext cx="5280000" cy="4279915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33401" y="1912859"/>
            <a:ext cx="5466691" cy="207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33401" y="4122775"/>
            <a:ext cx="5466691" cy="207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742480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 og 3 innholdsdeler [#3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0"/>
            <a:ext cx="5280000" cy="207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33401" y="1912859"/>
            <a:ext cx="5466691" cy="207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33401" y="4122775"/>
            <a:ext cx="10938691" cy="207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067109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 og 3 innholdsdeler [#4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0"/>
            <a:ext cx="5280000" cy="207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33401" y="1912859"/>
            <a:ext cx="5466691" cy="207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33401" y="4122775"/>
            <a:ext cx="5466691" cy="207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0" name="Plassholder for innhold 2"/>
          <p:cNvSpPr>
            <a:spLocks noGrp="1"/>
          </p:cNvSpPr>
          <p:nvPr>
            <p:ph idx="15"/>
          </p:nvPr>
        </p:nvSpPr>
        <p:spPr>
          <a:xfrm>
            <a:off x="6193615" y="4122775"/>
            <a:ext cx="5280000" cy="207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95181756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7" progId="TCLayout.ActiveDocument.1">
                  <p:embed/>
                </p:oleObj>
              </mc:Choice>
              <mc:Fallback>
                <p:oleObj name="think-cell Slide" r:id="rId3" imgW="352" imgH="357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4688" y="1935883"/>
            <a:ext cx="5275301" cy="521568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1800"/>
              </a:lnSpc>
              <a:buNone/>
              <a:defRPr sz="16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13" name="Plassholder for innhold 2"/>
          <p:cNvSpPr>
            <a:spLocks noGrp="1"/>
          </p:cNvSpPr>
          <p:nvPr>
            <p:ph idx="13"/>
          </p:nvPr>
        </p:nvSpPr>
        <p:spPr>
          <a:xfrm>
            <a:off x="720091" y="2590801"/>
            <a:ext cx="5280000" cy="3601975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tekst 2"/>
          <p:cNvSpPr>
            <a:spLocks noGrp="1"/>
          </p:cNvSpPr>
          <p:nvPr>
            <p:ph type="body" idx="14"/>
          </p:nvPr>
        </p:nvSpPr>
        <p:spPr>
          <a:xfrm>
            <a:off x="6196688" y="1935883"/>
            <a:ext cx="5275301" cy="521568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1800"/>
              </a:lnSpc>
              <a:buNone/>
              <a:defRPr sz="16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5" name="Plassholder for innhold 2"/>
          <p:cNvSpPr>
            <a:spLocks noGrp="1"/>
          </p:cNvSpPr>
          <p:nvPr>
            <p:ph idx="15"/>
          </p:nvPr>
        </p:nvSpPr>
        <p:spPr>
          <a:xfrm>
            <a:off x="6192091" y="2590801"/>
            <a:ext cx="5280000" cy="3601975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44102073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604"/>
            <a:ext cx="10363200" cy="1470025"/>
          </a:xfrm>
        </p:spPr>
        <p:txBody>
          <a:bodyPr/>
          <a:lstStyle/>
          <a:p>
            <a:r>
              <a:rPr lang="nb-NO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5B0386-3691-314E-8859-023B41C200D1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3/22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B51B12-BBFD-DF42-8720-4A03C0ED2DE9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3780212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5B0386-3691-314E-8859-023B41C200D1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3/22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B51B12-BBFD-DF42-8720-4A03C0ED2DE9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4368205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5B0386-3691-314E-8859-023B41C200D1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3/22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B51B12-BBFD-DF42-8720-4A03C0ED2DE9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3825369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5B0386-3691-314E-8859-023B41C200D1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3/22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B51B12-BBFD-DF42-8720-4A03C0ED2DE9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6765130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8" y="1535113"/>
            <a:ext cx="5389033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5B0386-3691-314E-8859-023B41C200D1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3/22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B51B12-BBFD-DF42-8720-4A03C0ED2DE9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8968523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5B0386-3691-314E-8859-023B41C200D1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3/22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B51B12-BBFD-DF42-8720-4A03C0ED2DE9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799047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nb-NO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6FE310-B303-3549-8CD9-1BBFDB3E26F7}" type="datetimeFigureOut">
              <a:rPr lang="en-US" smtClean="0"/>
              <a:t>11/3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7112CE-54A8-8E45-B638-842430DF85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532008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5B0386-3691-314E-8859-023B41C200D1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3/22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B51B12-BBFD-DF42-8720-4A03C0ED2DE9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5436770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26" y="273049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229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26" y="143510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5B0386-3691-314E-8859-023B41C200D1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3/22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B51B12-BBFD-DF42-8720-4A03C0ED2DE9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9953268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515"/>
            <a:ext cx="73152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5B0386-3691-314E-8859-023B41C200D1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3/22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B51B12-BBFD-DF42-8720-4A03C0ED2DE9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7334951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5B0386-3691-314E-8859-023B41C200D1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3/22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B51B12-BBFD-DF42-8720-4A03C0ED2DE9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7064353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0"/>
            <a:ext cx="2743200" cy="5851525"/>
          </a:xfrm>
        </p:spPr>
        <p:txBody>
          <a:bodyPr vert="eaVert"/>
          <a:lstStyle/>
          <a:p>
            <a:r>
              <a:rPr lang="nb-NO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0"/>
            <a:ext cx="8026400" cy="5851525"/>
          </a:xfrm>
        </p:spPr>
        <p:txBody>
          <a:bodyPr vert="eaVert"/>
          <a:lstStyle/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5B0386-3691-314E-8859-023B41C200D1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3/22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B51B12-BBFD-DF42-8720-4A03C0ED2DE9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7796715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581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6FE310-B303-3549-8CD9-1BBFDB3E26F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3/22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7112CE-54A8-8E45-B638-842430DF85B9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7856588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6FE310-B303-3549-8CD9-1BBFDB3E26F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3/22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7112CE-54A8-8E45-B638-842430DF85B9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6924053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6FE310-B303-3549-8CD9-1BBFDB3E26F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3/22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7112CE-54A8-8E45-B638-842430DF85B9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1266181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200153"/>
            <a:ext cx="53848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200153"/>
            <a:ext cx="53848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6FE310-B303-3549-8CD9-1BBFDB3E26F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3/22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7112CE-54A8-8E45-B638-842430DF85B9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4080692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8" y="1535113"/>
            <a:ext cx="5389033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6FE310-B303-3549-8CD9-1BBFDB3E26F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3/22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7112CE-54A8-8E45-B638-842430DF85B9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713228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200152"/>
            <a:ext cx="5384800" cy="3394075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200152"/>
            <a:ext cx="5384800" cy="3394075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6FE310-B303-3549-8CD9-1BBFDB3E26F7}" type="datetimeFigureOut">
              <a:rPr lang="en-US" smtClean="0"/>
              <a:t>11/3/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7112CE-54A8-8E45-B638-842430DF85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738391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6FE310-B303-3549-8CD9-1BBFDB3E26F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3/22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7112CE-54A8-8E45-B638-842430DF85B9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1595966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6FE310-B303-3549-8CD9-1BBFDB3E26F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3/22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7112CE-54A8-8E45-B638-842430DF85B9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8057670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26" y="273049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206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26" y="143510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6FE310-B303-3549-8CD9-1BBFDB3E26F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3/22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7112CE-54A8-8E45-B638-842430DF85B9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8113722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493"/>
            <a:ext cx="73152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6FE310-B303-3549-8CD9-1BBFDB3E26F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3/22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7112CE-54A8-8E45-B638-842430DF85B9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9449678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6FE310-B303-3549-8CD9-1BBFDB3E26F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3/22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7112CE-54A8-8E45-B638-842430DF85B9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2773130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06377"/>
            <a:ext cx="2743200" cy="4387851"/>
          </a:xfrm>
        </p:spPr>
        <p:txBody>
          <a:bodyPr vert="eaVert"/>
          <a:lstStyle/>
          <a:p>
            <a:r>
              <a:rPr lang="nb-NO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06377"/>
            <a:ext cx="8026400" cy="4387851"/>
          </a:xfrm>
        </p:spPr>
        <p:txBody>
          <a:bodyPr vert="eaVert"/>
          <a:lstStyle/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6FE310-B303-3549-8CD9-1BBFDB3E26F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1/3/22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7112CE-54A8-8E45-B638-842430DF85B9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936358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2" y="1535113"/>
            <a:ext cx="5389033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2" y="2174875"/>
            <a:ext cx="5389033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6FE310-B303-3549-8CD9-1BBFDB3E26F7}" type="datetimeFigureOut">
              <a:rPr lang="en-US" smtClean="0"/>
              <a:t>11/3/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7112CE-54A8-8E45-B638-842430DF85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66867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6FE310-B303-3549-8CD9-1BBFDB3E26F7}" type="datetimeFigureOut">
              <a:rPr lang="en-US" smtClean="0"/>
              <a:t>11/3/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7112CE-54A8-8E45-B638-842430DF85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90144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6FE310-B303-3549-8CD9-1BBFDB3E26F7}" type="datetimeFigureOut">
              <a:rPr lang="en-US" smtClean="0"/>
              <a:t>11/3/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7112CE-54A8-8E45-B638-842430DF85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58766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49"/>
            <a:ext cx="4011084" cy="1162051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6FE310-B303-3549-8CD9-1BBFDB3E26F7}" type="datetimeFigureOut">
              <a:rPr lang="en-US" smtClean="0"/>
              <a:t>11/3/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7112CE-54A8-8E45-B638-842430DF85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51155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9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6FE310-B303-3549-8CD9-1BBFDB3E26F7}" type="datetimeFigureOut">
              <a:rPr lang="en-US" smtClean="0"/>
              <a:t>11/3/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7112CE-54A8-8E45-B638-842430DF85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97261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6FE310-B303-3549-8CD9-1BBFDB3E26F7}" type="datetimeFigureOut">
              <a:rPr lang="en-US" smtClean="0"/>
              <a:t>11/3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7112CE-54A8-8E45-B638-842430DF85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0109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</p:sldLayoutIdLst>
  <p:txStyles>
    <p:titleStyle>
      <a:lvl1pPr algn="ctr" defTabSz="609585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189"/>
            <a:fld id="{F15B0386-3691-314E-8859-023B41C200D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189"/>
              <a:t>11/3/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189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189"/>
            <a:fld id="{1AB51B12-BBFD-DF42-8720-4A03C0ED2DE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189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1570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ctr" defTabSz="457189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1" indent="-342891" algn="l" defTabSz="457189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2" indent="-285744" algn="l" defTabSz="457189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457189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189"/>
            <a:fld id="{896FE310-B303-3549-8CD9-1BBFDB3E26F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189"/>
              <a:t>11/3/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189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189"/>
            <a:fld id="{627112CE-54A8-8E45-B638-842430DF85B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189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43717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</p:sldLayoutIdLst>
  <p:txStyles>
    <p:titleStyle>
      <a:lvl1pPr algn="ctr" defTabSz="457189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1" indent="-342891" algn="l" defTabSz="457189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2" indent="-285744" algn="l" defTabSz="457189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457189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3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3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3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92D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CEB000CA-34D8-CF24-1CA0-A207D2E859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10638" y="0"/>
            <a:ext cx="7967473" cy="6858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DA413E7-ACEB-B02B-01CA-536359ADDBBE}"/>
              </a:ext>
            </a:extLst>
          </p:cNvPr>
          <p:cNvSpPr txBox="1"/>
          <p:nvPr/>
        </p:nvSpPr>
        <p:spPr>
          <a:xfrm>
            <a:off x="0" y="536713"/>
            <a:ext cx="3921185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2400" b="1">
                <a:latin typeface="Arial" panose="020B0604020202020204" pitchFamily="34" charset="0"/>
                <a:cs typeface="Arial" panose="020B0604020202020204" pitchFamily="34" charset="0"/>
              </a:rPr>
              <a:t>«Grønn bok» som fast del av statsbudsjettet</a:t>
            </a:r>
          </a:p>
          <a:p>
            <a:pPr algn="ctr"/>
            <a:endParaRPr lang="nb-NO" sz="2400" b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nb-NO" sz="2400" b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nb-NO" b="1">
                <a:latin typeface="Arial" panose="020B0604020202020204" pitchFamily="34" charset="0"/>
                <a:cs typeface="Arial" panose="020B0604020202020204" pitchFamily="34" charset="0"/>
              </a:rPr>
              <a:t>Helge Drange, UiB</a:t>
            </a:r>
          </a:p>
          <a:p>
            <a:pPr algn="ctr"/>
            <a:r>
              <a:rPr lang="nb-NO" b="1">
                <a:latin typeface="Arial" panose="020B0604020202020204" pitchFamily="34" charset="0"/>
                <a:cs typeface="Arial" panose="020B0604020202020204" pitchFamily="34" charset="0"/>
              </a:rPr>
              <a:t>helge.drange@uib.no</a:t>
            </a:r>
          </a:p>
          <a:p>
            <a:pPr algn="ctr"/>
            <a:r>
              <a:rPr lang="nb-NO" b="1">
                <a:latin typeface="Arial" panose="020B0604020202020204" pitchFamily="34" charset="0"/>
                <a:cs typeface="Arial" panose="020B0604020202020204" pitchFamily="34" charset="0"/>
              </a:rPr>
              <a:t>(3. nov 2022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DC48096-3FC8-9A5D-09F3-493284E64598}"/>
              </a:ext>
            </a:extLst>
          </p:cNvPr>
          <p:cNvSpPr txBox="1"/>
          <p:nvPr/>
        </p:nvSpPr>
        <p:spPr>
          <a:xfrm rot="16200000">
            <a:off x="1286188" y="3887329"/>
            <a:ext cx="569512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 b="1">
                <a:latin typeface="Arial" panose="020B0604020202020204" pitchFamily="34" charset="0"/>
                <a:cs typeface="Arial" panose="020B0604020202020204" pitchFamily="34" charset="0"/>
              </a:rPr>
              <a:t>https://www.regjeringen.no/no/dokumenter/regjeringens-klimastatus-og-plan/id2931051/</a:t>
            </a:r>
          </a:p>
        </p:txBody>
      </p:sp>
    </p:spTree>
    <p:extLst>
      <p:ext uri="{BB962C8B-B14F-4D97-AF65-F5344CB8AC3E}">
        <p14:creationId xmlns:p14="http://schemas.microsoft.com/office/powerpoint/2010/main" val="230033205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855226E-282C-0C4A-AD5A-FBD1B33FE17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274920" y="241202"/>
            <a:ext cx="11251053" cy="6375596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93ED1240-8AC8-2A43-98EB-1D70660AAC3C}"/>
              </a:ext>
            </a:extLst>
          </p:cNvPr>
          <p:cNvSpPr txBox="1"/>
          <p:nvPr/>
        </p:nvSpPr>
        <p:spPr>
          <a:xfrm rot="16200000">
            <a:off x="-2362023" y="2920758"/>
            <a:ext cx="5634913" cy="5436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9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</a:t>
            </a:r>
            <a:r>
              <a:rPr kumimoji="0" lang="en-GB" sz="2933" b="1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e</a:t>
            </a:r>
            <a:r>
              <a:rPr kumimoji="0" lang="en-GB" sz="29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utslipp (Mt-CO</a:t>
            </a:r>
            <a:r>
              <a:rPr kumimoji="0" lang="en-GB" sz="2933" b="1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e</a:t>
            </a:r>
            <a:r>
              <a:rPr kumimoji="0" lang="en-GB" sz="29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/</a:t>
            </a:r>
            <a:r>
              <a:rPr kumimoji="0" lang="en-GB" sz="2933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år</a:t>
            </a:r>
            <a:r>
              <a:rPr kumimoji="0" lang="en-GB" sz="29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68F90DB-D74F-F24D-8399-BE5FC3938499}"/>
              </a:ext>
            </a:extLst>
          </p:cNvPr>
          <p:cNvCxnSpPr>
            <a:cxnSpLocks/>
          </p:cNvCxnSpPr>
          <p:nvPr/>
        </p:nvCxnSpPr>
        <p:spPr>
          <a:xfrm>
            <a:off x="4978260" y="2738823"/>
            <a:ext cx="3204000" cy="0"/>
          </a:xfrm>
          <a:prstGeom prst="line">
            <a:avLst/>
          </a:prstGeom>
          <a:ln>
            <a:solidFill>
              <a:schemeClr val="bg1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2551392B-AC41-6342-8B6F-C61150441C3D}"/>
              </a:ext>
            </a:extLst>
          </p:cNvPr>
          <p:cNvSpPr txBox="1"/>
          <p:nvPr/>
        </p:nvSpPr>
        <p:spPr>
          <a:xfrm>
            <a:off x="8614554" y="538481"/>
            <a:ext cx="281279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9411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vor</a:t>
            </a: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9411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tore </a:t>
            </a:r>
            <a:r>
              <a:rPr kumimoji="0" lang="en-GB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9411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tslippskutt</a:t>
            </a: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9411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?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BA8AE45-898B-A344-A66F-F6AF9F531B10}"/>
              </a:ext>
            </a:extLst>
          </p:cNvPr>
          <p:cNvSpPr/>
          <p:nvPr/>
        </p:nvSpPr>
        <p:spPr>
          <a:xfrm>
            <a:off x="1730858" y="510517"/>
            <a:ext cx="3410245" cy="66551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E9D90D0-41C9-CB4A-B2AC-ACC0B86FC54F}"/>
              </a:ext>
            </a:extLst>
          </p:cNvPr>
          <p:cNvSpPr txBox="1"/>
          <p:nvPr/>
        </p:nvSpPr>
        <p:spPr>
          <a:xfrm>
            <a:off x="1991637" y="600035"/>
            <a:ext cx="2812792" cy="830997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9411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limautslipp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9411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Norge, 1959-2021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632CAD1-67F6-974B-BA06-2136640E1F80}"/>
              </a:ext>
            </a:extLst>
          </p:cNvPr>
          <p:cNvSpPr txBox="1"/>
          <p:nvPr/>
        </p:nvSpPr>
        <p:spPr>
          <a:xfrm>
            <a:off x="4554510" y="2977424"/>
            <a:ext cx="4002157" cy="502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67" b="1" i="0" u="none" strike="noStrike" kern="1200" cap="none" spc="0" normalizeH="0" baseline="0" noProof="0" dirty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</a:t>
            </a:r>
            <a:r>
              <a:rPr kumimoji="0" lang="en-GB" sz="2667" b="1" i="0" u="none" strike="noStrike" kern="1200" cap="none" spc="0" normalizeH="0" baseline="-25000" noProof="0" dirty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854D42A-76F4-494F-91E8-E8293102BD41}"/>
              </a:ext>
            </a:extLst>
          </p:cNvPr>
          <p:cNvSpPr txBox="1"/>
          <p:nvPr/>
        </p:nvSpPr>
        <p:spPr>
          <a:xfrm>
            <a:off x="4554510" y="1129651"/>
            <a:ext cx="4002157" cy="502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67" b="1" i="0" u="none" strike="noStrike" kern="1200" cap="none" spc="0" normalizeH="0" baseline="0" noProof="0" dirty="0" err="1">
                <a:ln>
                  <a:noFill/>
                </a:ln>
                <a:solidFill>
                  <a:srgbClr val="EEECE1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kke</a:t>
            </a:r>
            <a:r>
              <a:rPr kumimoji="0" lang="en-GB" sz="2667" b="1" i="0" u="none" strike="noStrike" kern="1200" cap="none" spc="0" normalizeH="0" baseline="0" noProof="0" dirty="0">
                <a:ln>
                  <a:noFill/>
                </a:ln>
                <a:solidFill>
                  <a:srgbClr val="EEECE1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CO</a:t>
            </a:r>
            <a:r>
              <a:rPr kumimoji="0" lang="en-GB" sz="2667" b="1" i="0" u="none" strike="noStrike" kern="1200" cap="none" spc="0" normalizeH="0" baseline="-25000" noProof="0" dirty="0">
                <a:ln>
                  <a:noFill/>
                </a:ln>
                <a:solidFill>
                  <a:srgbClr val="EEECE1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AFF6816-DFD9-1149-A115-7893D94BE22C}"/>
              </a:ext>
            </a:extLst>
          </p:cNvPr>
          <p:cNvSpPr txBox="1"/>
          <p:nvPr/>
        </p:nvSpPr>
        <p:spPr>
          <a:xfrm>
            <a:off x="8183366" y="1045042"/>
            <a:ext cx="14067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srgbClr val="63656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–4 %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B5CCCB6-A790-0140-AA3D-8FD8C90C9E81}"/>
              </a:ext>
            </a:extLst>
          </p:cNvPr>
          <p:cNvSpPr txBox="1"/>
          <p:nvPr/>
        </p:nvSpPr>
        <p:spPr>
          <a:xfrm>
            <a:off x="8094510" y="1445695"/>
            <a:ext cx="14067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srgbClr val="CBC8B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–50 %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67A729D-CC41-A14A-8F58-2A76CFD3BE9C}"/>
              </a:ext>
            </a:extLst>
          </p:cNvPr>
          <p:cNvSpPr txBox="1"/>
          <p:nvPr/>
        </p:nvSpPr>
        <p:spPr>
          <a:xfrm>
            <a:off x="8123517" y="2183404"/>
            <a:ext cx="14067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srgbClr val="CC661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+16 %</a:t>
            </a:r>
          </a:p>
        </p:txBody>
      </p:sp>
    </p:spTree>
    <p:extLst>
      <p:ext uri="{BB962C8B-B14F-4D97-AF65-F5344CB8AC3E}">
        <p14:creationId xmlns:p14="http://schemas.microsoft.com/office/powerpoint/2010/main" val="635185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26" grpId="0"/>
      <p:bldP spid="27" grpId="0"/>
      <p:bldP spid="23" grpId="0"/>
      <p:bldP spid="24" grpId="0"/>
      <p:bldP spid="25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855226E-282C-0C4A-AD5A-FBD1B33FE17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74921" y="241201"/>
            <a:ext cx="11251050" cy="637559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0FCF5A3-029E-AB42-8232-EC923A22C761}"/>
              </a:ext>
            </a:extLst>
          </p:cNvPr>
          <p:cNvSpPr txBox="1"/>
          <p:nvPr/>
        </p:nvSpPr>
        <p:spPr>
          <a:xfrm>
            <a:off x="7899483" y="2883943"/>
            <a:ext cx="2321083" cy="646331"/>
          </a:xfrm>
          <a:prstGeom prst="rect">
            <a:avLst/>
          </a:prstGeom>
          <a:noFill/>
          <a:effectLst>
            <a:outerShdw blurRad="50800" dist="38100" dir="2220000" algn="tl" rotWithShape="0">
              <a:schemeClr val="bg1"/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ålsetning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den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1990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0C1785E-5E29-5147-9460-4357D7D8ACA7}"/>
              </a:ext>
            </a:extLst>
          </p:cNvPr>
          <p:cNvSpPr txBox="1"/>
          <p:nvPr/>
        </p:nvSpPr>
        <p:spPr>
          <a:xfrm>
            <a:off x="9266621" y="3627301"/>
            <a:ext cx="15138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BDB66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–55 %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2A11D629-CB76-E348-B71C-3FBD82BE5E5D}"/>
              </a:ext>
            </a:extLst>
          </p:cNvPr>
          <p:cNvSpPr/>
          <p:nvPr/>
        </p:nvSpPr>
        <p:spPr>
          <a:xfrm>
            <a:off x="10978767" y="5788772"/>
            <a:ext cx="240000" cy="240000"/>
          </a:xfrm>
          <a:prstGeom prst="ellipse">
            <a:avLst/>
          </a:prstGeom>
          <a:noFill/>
          <a:ln w="66675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3866859-FACB-1943-B051-470DC0DF94DE}"/>
              </a:ext>
            </a:extLst>
          </p:cNvPr>
          <p:cNvSpPr txBox="1"/>
          <p:nvPr/>
        </p:nvSpPr>
        <p:spPr>
          <a:xfrm>
            <a:off x="9851423" y="5277093"/>
            <a:ext cx="15138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llutslipp i 2050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3BCE4F2-12D4-914E-A2CB-78720F1C6500}"/>
              </a:ext>
            </a:extLst>
          </p:cNvPr>
          <p:cNvSpPr txBox="1"/>
          <p:nvPr/>
        </p:nvSpPr>
        <p:spPr>
          <a:xfrm rot="16200000">
            <a:off x="-2362023" y="2920758"/>
            <a:ext cx="5634913" cy="5436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9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</a:t>
            </a:r>
            <a:r>
              <a:rPr kumimoji="0" lang="en-GB" sz="2933" b="1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e</a:t>
            </a:r>
            <a:r>
              <a:rPr kumimoji="0" lang="en-GB" sz="29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utslipp (Mt-CO</a:t>
            </a:r>
            <a:r>
              <a:rPr kumimoji="0" lang="en-GB" sz="2933" b="1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e</a:t>
            </a:r>
            <a:r>
              <a:rPr kumimoji="0" lang="en-GB" sz="29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/</a:t>
            </a:r>
            <a:r>
              <a:rPr kumimoji="0" lang="en-GB" sz="2933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år</a:t>
            </a:r>
            <a:r>
              <a:rPr kumimoji="0" lang="en-GB" sz="29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9CC7D5D-BE18-BC45-88D8-7A195C1A8BC2}"/>
              </a:ext>
            </a:extLst>
          </p:cNvPr>
          <p:cNvSpPr txBox="1"/>
          <p:nvPr/>
        </p:nvSpPr>
        <p:spPr>
          <a:xfrm>
            <a:off x="4554510" y="2977424"/>
            <a:ext cx="4002157" cy="502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67" b="1" i="0" u="none" strike="noStrike" kern="1200" cap="none" spc="0" normalizeH="0" baseline="0" noProof="0" dirty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</a:t>
            </a:r>
            <a:r>
              <a:rPr kumimoji="0" lang="en-GB" sz="2667" b="1" i="0" u="none" strike="noStrike" kern="1200" cap="none" spc="0" normalizeH="0" baseline="-25000" noProof="0" dirty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71AE2D5-3343-EA45-B227-BB95C6337614}"/>
              </a:ext>
            </a:extLst>
          </p:cNvPr>
          <p:cNvSpPr txBox="1"/>
          <p:nvPr/>
        </p:nvSpPr>
        <p:spPr>
          <a:xfrm>
            <a:off x="4554510" y="1129651"/>
            <a:ext cx="4002157" cy="502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67" b="1" i="0" u="none" strike="noStrike" kern="1200" cap="none" spc="0" normalizeH="0" baseline="0" noProof="0" dirty="0" err="1">
                <a:ln>
                  <a:noFill/>
                </a:ln>
                <a:solidFill>
                  <a:srgbClr val="EEECE1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kke</a:t>
            </a:r>
            <a:r>
              <a:rPr kumimoji="0" lang="en-GB" sz="2667" b="1" i="0" u="none" strike="noStrike" kern="1200" cap="none" spc="0" normalizeH="0" baseline="0" noProof="0" dirty="0">
                <a:ln>
                  <a:noFill/>
                </a:ln>
                <a:solidFill>
                  <a:srgbClr val="EEECE1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CO</a:t>
            </a:r>
            <a:r>
              <a:rPr kumimoji="0" lang="en-GB" sz="2667" b="1" i="0" u="none" strike="noStrike" kern="1200" cap="none" spc="0" normalizeH="0" baseline="-25000" noProof="0" dirty="0">
                <a:ln>
                  <a:noFill/>
                </a:ln>
                <a:solidFill>
                  <a:srgbClr val="EEECE1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376197E-A02A-13BB-2C33-E77690F3B979}"/>
              </a:ext>
            </a:extLst>
          </p:cNvPr>
          <p:cNvSpPr txBox="1"/>
          <p:nvPr/>
        </p:nvSpPr>
        <p:spPr>
          <a:xfrm>
            <a:off x="8614554" y="538481"/>
            <a:ext cx="281279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9411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vor</a:t>
            </a: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9411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tore </a:t>
            </a:r>
            <a:r>
              <a:rPr kumimoji="0" lang="en-GB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9411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tslippskutt</a:t>
            </a: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9411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?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B20019A-A90F-274F-B93C-F2178DDB04FB}"/>
              </a:ext>
            </a:extLst>
          </p:cNvPr>
          <p:cNvSpPr/>
          <p:nvPr/>
        </p:nvSpPr>
        <p:spPr>
          <a:xfrm>
            <a:off x="1730858" y="510517"/>
            <a:ext cx="3410245" cy="66551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AFD0F80-4CD5-C498-007E-622E9BAD1B74}"/>
              </a:ext>
            </a:extLst>
          </p:cNvPr>
          <p:cNvSpPr txBox="1"/>
          <p:nvPr/>
        </p:nvSpPr>
        <p:spPr>
          <a:xfrm>
            <a:off x="1991637" y="600035"/>
            <a:ext cx="2812792" cy="830997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9411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limautslipp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9411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Norge, 1959-2021</a:t>
            </a:r>
          </a:p>
        </p:txBody>
      </p:sp>
    </p:spTree>
    <p:extLst>
      <p:ext uri="{BB962C8B-B14F-4D97-AF65-F5344CB8AC3E}">
        <p14:creationId xmlns:p14="http://schemas.microsoft.com/office/powerpoint/2010/main" val="35191661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4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855226E-282C-0C4A-AD5A-FBD1B33FE17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74922" y="241201"/>
            <a:ext cx="11251049" cy="637559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0F2D843-A9DB-444F-B612-A843BCE5D931}"/>
              </a:ext>
            </a:extLst>
          </p:cNvPr>
          <p:cNvSpPr txBox="1"/>
          <p:nvPr/>
        </p:nvSpPr>
        <p:spPr>
          <a:xfrm>
            <a:off x="4554510" y="2977424"/>
            <a:ext cx="4002157" cy="502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67" b="1" i="0" u="none" strike="noStrike" kern="1200" cap="none" spc="0" normalizeH="0" baseline="0" noProof="0" dirty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</a:t>
            </a:r>
            <a:r>
              <a:rPr kumimoji="0" lang="en-GB" sz="2667" b="1" i="0" u="none" strike="noStrike" kern="1200" cap="none" spc="0" normalizeH="0" baseline="-25000" noProof="0" dirty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69B301D-4073-864D-AF08-81A7B85B534C}"/>
              </a:ext>
            </a:extLst>
          </p:cNvPr>
          <p:cNvSpPr txBox="1"/>
          <p:nvPr/>
        </p:nvSpPr>
        <p:spPr>
          <a:xfrm rot="16200000">
            <a:off x="-2362023" y="2920758"/>
            <a:ext cx="5634913" cy="5436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9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</a:t>
            </a:r>
            <a:r>
              <a:rPr kumimoji="0" lang="en-GB" sz="2933" b="1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e</a:t>
            </a:r>
            <a:r>
              <a:rPr kumimoji="0" lang="en-GB" sz="29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utslipp (Mt-CO</a:t>
            </a:r>
            <a:r>
              <a:rPr kumimoji="0" lang="en-GB" sz="2933" b="1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e</a:t>
            </a:r>
            <a:r>
              <a:rPr kumimoji="0" lang="en-GB" sz="29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/</a:t>
            </a:r>
            <a:r>
              <a:rPr kumimoji="0" lang="en-GB" sz="2933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år</a:t>
            </a:r>
            <a:r>
              <a:rPr kumimoji="0" lang="en-GB" sz="29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AFCE3DC-D150-E545-9BF5-BAA4C9E694B1}"/>
              </a:ext>
            </a:extLst>
          </p:cNvPr>
          <p:cNvSpPr txBox="1"/>
          <p:nvPr/>
        </p:nvSpPr>
        <p:spPr>
          <a:xfrm>
            <a:off x="4554510" y="1129651"/>
            <a:ext cx="4002157" cy="502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67" b="1" i="0" u="none" strike="noStrike" kern="1200" cap="none" spc="0" normalizeH="0" baseline="0" noProof="0" dirty="0" err="1">
                <a:ln>
                  <a:noFill/>
                </a:ln>
                <a:solidFill>
                  <a:srgbClr val="EEECE1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kke</a:t>
            </a:r>
            <a:r>
              <a:rPr kumimoji="0" lang="en-GB" sz="2667" b="1" i="0" u="none" strike="noStrike" kern="1200" cap="none" spc="0" normalizeH="0" baseline="0" noProof="0" dirty="0">
                <a:ln>
                  <a:noFill/>
                </a:ln>
                <a:solidFill>
                  <a:srgbClr val="EEECE1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CO</a:t>
            </a:r>
            <a:r>
              <a:rPr kumimoji="0" lang="en-GB" sz="2667" b="1" i="0" u="none" strike="noStrike" kern="1200" cap="none" spc="0" normalizeH="0" baseline="-25000" noProof="0" dirty="0">
                <a:ln>
                  <a:noFill/>
                </a:ln>
                <a:solidFill>
                  <a:srgbClr val="EEECE1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D445B73-DFA8-0037-F9C8-404C4C4D5CBF}"/>
              </a:ext>
            </a:extLst>
          </p:cNvPr>
          <p:cNvSpPr txBox="1"/>
          <p:nvPr/>
        </p:nvSpPr>
        <p:spPr>
          <a:xfrm>
            <a:off x="11308080" y="5302685"/>
            <a:ext cx="883920" cy="502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33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–</a:t>
            </a:r>
            <a:r>
              <a:rPr kumimoji="0" lang="en-GB" sz="1333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4 %    pr </a:t>
            </a:r>
            <a:r>
              <a:rPr kumimoji="0" lang="en-GB" sz="1333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år</a:t>
            </a:r>
            <a:endParaRPr kumimoji="0" lang="en-GB" sz="1333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F912F86-D03C-73CC-F21D-A1C5B91C4B3C}"/>
              </a:ext>
            </a:extLst>
          </p:cNvPr>
          <p:cNvSpPr/>
          <p:nvPr/>
        </p:nvSpPr>
        <p:spPr>
          <a:xfrm>
            <a:off x="1730858" y="510517"/>
            <a:ext cx="3410245" cy="66551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2D382CA-CF90-6E27-6734-8B85CFF43E1C}"/>
              </a:ext>
            </a:extLst>
          </p:cNvPr>
          <p:cNvSpPr txBox="1"/>
          <p:nvPr/>
        </p:nvSpPr>
        <p:spPr>
          <a:xfrm>
            <a:off x="1991637" y="600035"/>
            <a:ext cx="2812792" cy="830997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9411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limautslipp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9411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Norge, 1959-2021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B5ACE00-817B-CA7F-6937-02BC5B3CFED3}"/>
              </a:ext>
            </a:extLst>
          </p:cNvPr>
          <p:cNvGrpSpPr/>
          <p:nvPr/>
        </p:nvGrpSpPr>
        <p:grpSpPr>
          <a:xfrm>
            <a:off x="8238485" y="1782203"/>
            <a:ext cx="2936941" cy="1091626"/>
            <a:chOff x="8238485" y="1782203"/>
            <a:chExt cx="2936941" cy="1091626"/>
          </a:xfrm>
        </p:grpSpPr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7D9EBE29-0510-8DCC-6BCA-BA6A10F1AF99}"/>
                </a:ext>
              </a:extLst>
            </p:cNvPr>
            <p:cNvSpPr/>
            <p:nvPr/>
          </p:nvSpPr>
          <p:spPr>
            <a:xfrm>
              <a:off x="8469086" y="2191657"/>
              <a:ext cx="792521" cy="682172"/>
            </a:xfrm>
            <a:custGeom>
              <a:avLst/>
              <a:gdLst>
                <a:gd name="connsiteX0" fmla="*/ 791028 w 792521"/>
                <a:gd name="connsiteY0" fmla="*/ 0 h 682172"/>
                <a:gd name="connsiteX1" fmla="*/ 667657 w 792521"/>
                <a:gd name="connsiteY1" fmla="*/ 341086 h 682172"/>
                <a:gd name="connsiteX2" fmla="*/ 0 w 792521"/>
                <a:gd name="connsiteY2" fmla="*/ 682172 h 682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92521" h="682172">
                  <a:moveTo>
                    <a:pt x="791028" y="0"/>
                  </a:moveTo>
                  <a:cubicBezTo>
                    <a:pt x="795261" y="113695"/>
                    <a:pt x="799495" y="227391"/>
                    <a:pt x="667657" y="341086"/>
                  </a:cubicBezTo>
                  <a:cubicBezTo>
                    <a:pt x="535819" y="454781"/>
                    <a:pt x="267909" y="568476"/>
                    <a:pt x="0" y="682172"/>
                  </a:cubicBezTo>
                </a:path>
              </a:pathLst>
            </a:custGeom>
            <a:noFill/>
            <a:ln w="22225">
              <a:solidFill>
                <a:srgbClr val="070089"/>
              </a:solidFill>
              <a:tailEnd type="stealth" w="lg" len="lg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E29C422F-A64F-3E6C-35C9-E3633EBE916B}"/>
                </a:ext>
              </a:extLst>
            </p:cNvPr>
            <p:cNvGrpSpPr/>
            <p:nvPr/>
          </p:nvGrpSpPr>
          <p:grpSpPr>
            <a:xfrm>
              <a:off x="8238485" y="1782203"/>
              <a:ext cx="2936941" cy="692497"/>
              <a:chOff x="8325570" y="1993631"/>
              <a:chExt cx="2958572" cy="692497"/>
            </a:xfrm>
          </p:grpSpPr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6DA1D2D9-3006-1AD3-2ABF-57046DA54125}"/>
                  </a:ext>
                </a:extLst>
              </p:cNvPr>
              <p:cNvSpPr txBox="1"/>
              <p:nvPr/>
            </p:nvSpPr>
            <p:spPr>
              <a:xfrm>
                <a:off x="8659399" y="1993631"/>
                <a:ext cx="2624743" cy="69249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070089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2/3 sannsynlighet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070089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lle verdens stater/regioner  kutter like mye, like raskt</a:t>
                </a:r>
              </a:p>
            </p:txBody>
          </p:sp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85382842-6E4E-F459-2AED-BBF264C6A5FA}"/>
                  </a:ext>
                </a:extLst>
              </p:cNvPr>
              <p:cNvSpPr txBox="1"/>
              <p:nvPr/>
            </p:nvSpPr>
            <p:spPr>
              <a:xfrm>
                <a:off x="8325570" y="1993631"/>
                <a:ext cx="2866572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070089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(i)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070089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(ii)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450983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855226E-282C-0C4A-AD5A-FBD1B33FE17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74923" y="241202"/>
            <a:ext cx="11251046" cy="6375593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FA016826-E837-3F41-A4D1-C3E11E08010D}"/>
              </a:ext>
            </a:extLst>
          </p:cNvPr>
          <p:cNvSpPr txBox="1"/>
          <p:nvPr/>
        </p:nvSpPr>
        <p:spPr>
          <a:xfrm>
            <a:off x="11308080" y="5302685"/>
            <a:ext cx="883920" cy="502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33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–</a:t>
            </a:r>
            <a:r>
              <a:rPr kumimoji="0" lang="en-GB" sz="1333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4 %    pr </a:t>
            </a:r>
            <a:r>
              <a:rPr kumimoji="0" lang="en-GB" sz="1333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år</a:t>
            </a:r>
            <a:endParaRPr kumimoji="0" lang="en-GB" sz="1333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930B037-B3AE-A442-A02B-9AFD693B04F3}"/>
              </a:ext>
            </a:extLst>
          </p:cNvPr>
          <p:cNvSpPr txBox="1"/>
          <p:nvPr/>
        </p:nvSpPr>
        <p:spPr>
          <a:xfrm>
            <a:off x="11308080" y="3803341"/>
            <a:ext cx="883920" cy="502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33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–</a:t>
            </a:r>
            <a:r>
              <a:rPr kumimoji="0" lang="en-GB" sz="1333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,5 % pr å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00BC1A7-E17D-C844-8089-A76C63E7E30E}"/>
              </a:ext>
            </a:extLst>
          </p:cNvPr>
          <p:cNvSpPr txBox="1"/>
          <p:nvPr/>
        </p:nvSpPr>
        <p:spPr>
          <a:xfrm>
            <a:off x="4554510" y="2977424"/>
            <a:ext cx="4002157" cy="502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67" b="1" i="0" u="none" strike="noStrike" kern="1200" cap="none" spc="0" normalizeH="0" baseline="0" noProof="0" dirty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</a:t>
            </a:r>
            <a:r>
              <a:rPr kumimoji="0" lang="en-GB" sz="2667" b="1" i="0" u="none" strike="noStrike" kern="1200" cap="none" spc="0" normalizeH="0" baseline="-25000" noProof="0" dirty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BC84D94-0562-8F4B-A94D-C4B4813C5CC2}"/>
              </a:ext>
            </a:extLst>
          </p:cNvPr>
          <p:cNvSpPr txBox="1"/>
          <p:nvPr/>
        </p:nvSpPr>
        <p:spPr>
          <a:xfrm rot="16200000">
            <a:off x="-2362023" y="2920758"/>
            <a:ext cx="5634913" cy="5436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9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</a:t>
            </a:r>
            <a:r>
              <a:rPr kumimoji="0" lang="en-GB" sz="2933" b="1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e</a:t>
            </a:r>
            <a:r>
              <a:rPr kumimoji="0" lang="en-GB" sz="29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utslipp (Mt-CO</a:t>
            </a:r>
            <a:r>
              <a:rPr kumimoji="0" lang="en-GB" sz="2933" b="1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e</a:t>
            </a:r>
            <a:r>
              <a:rPr kumimoji="0" lang="en-GB" sz="29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/</a:t>
            </a:r>
            <a:r>
              <a:rPr kumimoji="0" lang="en-GB" sz="2933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</a:t>
            </a:r>
            <a:r>
              <a:rPr kumimoji="0" lang="en-GB" sz="29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0D8ADBB-F0D7-784D-8922-4D84687EF4EA}"/>
              </a:ext>
            </a:extLst>
          </p:cNvPr>
          <p:cNvSpPr txBox="1"/>
          <p:nvPr/>
        </p:nvSpPr>
        <p:spPr>
          <a:xfrm>
            <a:off x="4554510" y="1129651"/>
            <a:ext cx="4002157" cy="502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667" b="1" i="0" u="none" strike="noStrike" kern="1200" cap="none" spc="0" normalizeH="0" baseline="0" noProof="0" dirty="0" err="1">
                <a:ln>
                  <a:noFill/>
                </a:ln>
                <a:solidFill>
                  <a:srgbClr val="EEECE1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kke</a:t>
            </a:r>
            <a:r>
              <a:rPr kumimoji="0" lang="en-GB" sz="2667" b="1" i="0" u="none" strike="noStrike" kern="1200" cap="none" spc="0" normalizeH="0" baseline="0" noProof="0" dirty="0">
                <a:ln>
                  <a:noFill/>
                </a:ln>
                <a:solidFill>
                  <a:srgbClr val="EEECE1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CO</a:t>
            </a:r>
            <a:r>
              <a:rPr kumimoji="0" lang="en-GB" sz="2667" b="1" i="0" u="none" strike="noStrike" kern="1200" cap="none" spc="0" normalizeH="0" baseline="-25000" noProof="0" dirty="0">
                <a:ln>
                  <a:noFill/>
                </a:ln>
                <a:solidFill>
                  <a:srgbClr val="EEECE1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01AA5FD-1D13-8E77-14BE-94429850C8CF}"/>
              </a:ext>
            </a:extLst>
          </p:cNvPr>
          <p:cNvSpPr/>
          <p:nvPr/>
        </p:nvSpPr>
        <p:spPr>
          <a:xfrm>
            <a:off x="1730858" y="510517"/>
            <a:ext cx="3410245" cy="66551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083FA68-C1AF-91D2-7DD4-1AC79E4CE45B}"/>
              </a:ext>
            </a:extLst>
          </p:cNvPr>
          <p:cNvSpPr txBox="1"/>
          <p:nvPr/>
        </p:nvSpPr>
        <p:spPr>
          <a:xfrm>
            <a:off x="1991637" y="600035"/>
            <a:ext cx="2812792" cy="830997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9411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limautslipp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9411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Norge, 1959-2021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EC5A871-2243-29AC-0F74-DF793F233E77}"/>
              </a:ext>
            </a:extLst>
          </p:cNvPr>
          <p:cNvSpPr txBox="1"/>
          <p:nvPr/>
        </p:nvSpPr>
        <p:spPr>
          <a:xfrm>
            <a:off x="3575043" y="4102356"/>
            <a:ext cx="3132120" cy="1200329"/>
          </a:xfrm>
          <a:prstGeom prst="rect">
            <a:avLst/>
          </a:prstGeom>
          <a:solidFill>
            <a:srgbClr val="00B0F0"/>
          </a:solidFill>
          <a:ln w="22225"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duserte utslipp på grunn av COVID-19 i 2020:    –4 prosent (Norge)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–7 prosent (globalt)</a:t>
            </a:r>
          </a:p>
        </p:txBody>
      </p:sp>
    </p:spTree>
    <p:extLst>
      <p:ext uri="{BB962C8B-B14F-4D97-AF65-F5344CB8AC3E}">
        <p14:creationId xmlns:p14="http://schemas.microsoft.com/office/powerpoint/2010/main" val="35344013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92D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CEB000CA-34D8-CF24-1CA0-A207D2E85964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4000"/>
          </a:blip>
          <a:stretch>
            <a:fillRect/>
          </a:stretch>
        </p:blipFill>
        <p:spPr>
          <a:xfrm>
            <a:off x="6971813" y="0"/>
            <a:ext cx="5552661" cy="4779452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DA413E7-ACEB-B02B-01CA-536359ADDBBE}"/>
              </a:ext>
            </a:extLst>
          </p:cNvPr>
          <p:cNvSpPr txBox="1"/>
          <p:nvPr/>
        </p:nvSpPr>
        <p:spPr>
          <a:xfrm>
            <a:off x="-129209" y="89452"/>
            <a:ext cx="39211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«Grønn bok» som fast del av statsbudsjette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628CB84-E2A7-38C2-8A3F-E9CC075FB1E6}"/>
              </a:ext>
            </a:extLst>
          </p:cNvPr>
          <p:cNvSpPr txBox="1"/>
          <p:nvPr/>
        </p:nvSpPr>
        <p:spPr>
          <a:xfrm>
            <a:off x="726141" y="948690"/>
            <a:ext cx="10942983" cy="590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b="1">
                <a:latin typeface="Arial" panose="020B0604020202020204" pitchFamily="34" charset="0"/>
                <a:cs typeface="Arial" panose="020B0604020202020204" pitchFamily="34" charset="0"/>
              </a:rPr>
              <a:t>Pluss fo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b-NO" b="1">
                <a:latin typeface="Arial" panose="020B0604020202020204" pitchFamily="34" charset="0"/>
                <a:cs typeface="Arial" panose="020B0604020202020204" pitchFamily="34" charset="0"/>
              </a:rPr>
              <a:t>God beskrivelse av status og utfordringe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b-NO" b="1">
                <a:latin typeface="Arial" panose="020B0604020202020204" pitchFamily="34" charset="0"/>
                <a:cs typeface="Arial" panose="020B0604020202020204" pitchFamily="34" charset="0"/>
              </a:rPr>
              <a:t>Fornuftig med et utslippsbudsjett parallelt med                                                                 økonomisk (stats)budsjet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b-NO" b="1">
                <a:latin typeface="Arial" panose="020B0604020202020204" pitchFamily="34" charset="0"/>
                <a:cs typeface="Arial" panose="020B0604020202020204" pitchFamily="34" charset="0"/>
              </a:rPr>
              <a:t>Klimasamarbeid med EU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nb-NO" b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nb-NO" b="1">
                <a:latin typeface="Arial" panose="020B0604020202020204" pitchFamily="34" charset="0"/>
                <a:cs typeface="Arial" panose="020B0604020202020204" pitchFamily="34" charset="0"/>
              </a:rPr>
              <a:t>Minus fo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b-NO" b="1">
                <a:latin typeface="Arial" panose="020B0604020202020204" pitchFamily="34" charset="0"/>
                <a:cs typeface="Arial" panose="020B0604020202020204" pitchFamily="34" charset="0"/>
              </a:rPr>
              <a:t>Nåværende plan/tiltak er ikke i tråd med vedtatte klimamål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b-NO" b="1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gelfulle/ikke-eksisterende utslippsplaner for flere sektorer (nedsatt «Grønt industriråd»; «Rådet for rettferdig omstilling»; «Nasjonal transportplan» i 2024;  ny klimamelding; utarbeide ladestrategi; arbeid med forbruksendringer generelt; arbeid med reduserte utslipp i jordbruksektoren, inkludert etablering av «Bionova»; anskaffelser av lav- og nullutslipps ferger/båter; naturregnskap igangsatt; </a:t>
            </a:r>
            <a:r>
              <a:rPr lang="en-GB" b="1" i="0" u="none" strike="noStrike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klimakrav til bygge- og anleggsplasser gjennom plan- og bygningslova og/eller forurensningslova; forsterke «Nasjonal handlingsplan for bedre kosthold»; redusere matsvinn; fortsette arbeidet med CO</a:t>
            </a:r>
            <a:r>
              <a:rPr lang="en-GB" b="1" i="0" u="none" strike="noStrike" baseline="-2500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GB" b="1" i="0" u="none" strike="noStrike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-håndtering; ardeide med fornybar energi; arbeid med viderutvikling av petroleumsnæringa; sikrere budsjett for skog- og landbruk og våtmark; økt karbonlager i matjord; kommunal arealplanlegging; etc.</a:t>
            </a:r>
            <a:r>
              <a:rPr lang="nb-NO" b="1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b-NO" b="1">
                <a:latin typeface="Arial" panose="020B0604020202020204" pitchFamily="34" charset="0"/>
                <a:cs typeface="Arial" panose="020B0604020202020204" pitchFamily="34" charset="0"/>
              </a:rPr>
              <a:t>Mangelfulle/ikke-eksisterende årlige delmå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b-NO" b="1">
                <a:latin typeface="Arial" panose="020B0604020202020204" pitchFamily="34" charset="0"/>
                <a:cs typeface="Arial" panose="020B0604020202020204" pitchFamily="34" charset="0"/>
              </a:rPr>
              <a:t>Fravær av faglig, politisk og tidsuavhengig revisjonsinstans </a:t>
            </a:r>
          </a:p>
          <a:p>
            <a:pPr lvl="3"/>
            <a:r>
              <a:rPr lang="nb-NO" b="1">
                <a:latin typeface="Arial" panose="020B0604020202020204" pitchFamily="34" charset="0"/>
                <a:cs typeface="Arial" panose="020B0604020202020204" pitchFamily="34" charset="0"/>
              </a:rPr>
              <a:t>(f.eks. Englands </a:t>
            </a:r>
            <a:r>
              <a:rPr lang="nb-NO" b="1" i="1">
                <a:latin typeface="Arial" panose="020B0604020202020204" pitchFamily="34" charset="0"/>
                <a:cs typeface="Arial" panose="020B0604020202020204" pitchFamily="34" charset="0"/>
              </a:rPr>
              <a:t>Climate Change Committee</a:t>
            </a:r>
            <a:r>
              <a:rPr lang="nb-NO" b="1">
                <a:latin typeface="Arial" panose="020B0604020202020204" pitchFamily="34" charset="0"/>
                <a:cs typeface="Arial" panose="020B0604020202020204" pitchFamily="34" charset="0"/>
              </a:rPr>
              <a:t>, etablert som del av «Climate Change Act» i 2008)</a:t>
            </a:r>
          </a:p>
        </p:txBody>
      </p:sp>
    </p:spTree>
    <p:extLst>
      <p:ext uri="{BB962C8B-B14F-4D97-AF65-F5344CB8AC3E}">
        <p14:creationId xmlns:p14="http://schemas.microsoft.com/office/powerpoint/2010/main" val="310005348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71B5C3B-2D7D-634F-98F4-848CF95ADCA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399201"/>
            <a:ext cx="12192000" cy="602782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30D23B5-E798-0823-2FB5-882077BEFFC3}"/>
              </a:ext>
            </a:extLst>
          </p:cNvPr>
          <p:cNvSpPr txBox="1"/>
          <p:nvPr/>
        </p:nvSpPr>
        <p:spPr>
          <a:xfrm>
            <a:off x="0" y="6611779"/>
            <a:ext cx="609600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sz="1000" b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ttps://lovdata.no/dokument/NL/lov/2017-06-16-60?q=Lov%20om%20klimamål</a:t>
            </a:r>
          </a:p>
        </p:txBody>
      </p:sp>
    </p:spTree>
    <p:extLst>
      <p:ext uri="{BB962C8B-B14F-4D97-AF65-F5344CB8AC3E}">
        <p14:creationId xmlns:p14="http://schemas.microsoft.com/office/powerpoint/2010/main" val="21260088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erson in a suit&#10;&#10;Description automatically generated with low confidence">
            <a:extLst>
              <a:ext uri="{FF2B5EF4-FFF2-40B4-BE49-F238E27FC236}">
                <a16:creationId xmlns:a16="http://schemas.microsoft.com/office/drawing/2014/main" id="{E4375F37-3D92-D726-6089-09147CA17C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66930" y="0"/>
            <a:ext cx="9177868" cy="6858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89AC099-E719-0855-2008-0A389982CB79}"/>
              </a:ext>
            </a:extLst>
          </p:cNvPr>
          <p:cNvSpPr txBox="1"/>
          <p:nvPr/>
        </p:nvSpPr>
        <p:spPr>
          <a:xfrm rot="16200000">
            <a:off x="8846021" y="3685816"/>
            <a:ext cx="609814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1" i="0" u="none" strike="noStrike" kern="1200" cap="none" spc="0" normalizeH="0" baseline="0" noProof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ttps://www.nrk.no/nyheter/regjeringa-auker-klimamalet-til-55-prosent-1.16164230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8606538-0C69-84E2-253D-D0D08BBAEFC9}"/>
              </a:ext>
            </a:extLst>
          </p:cNvPr>
          <p:cNvSpPr txBox="1"/>
          <p:nvPr/>
        </p:nvSpPr>
        <p:spPr>
          <a:xfrm>
            <a:off x="0" y="759853"/>
            <a:ext cx="3766930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3200" b="1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dag:</a:t>
            </a:r>
          </a:p>
          <a:p>
            <a:pPr algn="ctr"/>
            <a:endParaRPr lang="nb-NO" sz="3200" b="1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nb-NO" sz="3200" b="1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 50 til 55 % reduksjon av innenlands (?) klimapassutslipp   i 2030 vs 1990</a:t>
            </a:r>
          </a:p>
        </p:txBody>
      </p:sp>
    </p:spTree>
    <p:extLst>
      <p:ext uri="{BB962C8B-B14F-4D97-AF65-F5344CB8AC3E}">
        <p14:creationId xmlns:p14="http://schemas.microsoft.com/office/powerpoint/2010/main" val="42662715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5BDC3E7-CE24-EB47-B207-1D59C7B28A46}"/>
              </a:ext>
            </a:extLst>
          </p:cNvPr>
          <p:cNvSpPr txBox="1"/>
          <p:nvPr/>
        </p:nvSpPr>
        <p:spPr>
          <a:xfrm>
            <a:off x="0" y="488939"/>
            <a:ext cx="12192000" cy="14259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666" b="1" i="0" u="none" strike="noStrike" kern="1200" cap="none" spc="0" normalizeH="0" baseline="0" noProof="0" dirty="0">
                <a:ln>
                  <a:noFill/>
                </a:ln>
                <a:solidFill>
                  <a:srgbClr val="EEECE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akteppe</a:t>
            </a:r>
            <a:endParaRPr kumimoji="0" lang="en-GB" sz="4267" b="1" i="0" u="none" strike="noStrike" kern="1200" cap="none" spc="0" normalizeH="0" baseline="0" noProof="0" dirty="0">
              <a:ln>
                <a:noFill/>
              </a:ln>
              <a:solidFill>
                <a:srgbClr val="EEECE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6445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CC11AE3-4BE7-7046-8AB1-A71B0E36FE14}"/>
              </a:ext>
            </a:extLst>
          </p:cNvPr>
          <p:cNvSpPr txBox="1"/>
          <p:nvPr/>
        </p:nvSpPr>
        <p:spPr>
          <a:xfrm>
            <a:off x="6096000" y="497648"/>
            <a:ext cx="5642113" cy="18569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nb-NO" sz="2400" b="1">
                <a:solidFill>
                  <a:srgbClr val="EEECE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første gang:</a:t>
            </a:r>
          </a:p>
          <a:p>
            <a:pPr algn="ctr" defTabSz="609585"/>
            <a:endParaRPr lang="nb-NO" sz="2400" b="1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609585"/>
            <a:r>
              <a:rPr lang="nb-NO" sz="2400" b="1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Bred) Dokumentert kobling mellom klimagassutslipp og ekstremvær</a:t>
            </a:r>
            <a:endParaRPr lang="nb-NO" sz="1867" b="1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609585"/>
            <a:r>
              <a:rPr lang="nb-NO" sz="1867" b="1">
                <a:solidFill>
                  <a:srgbClr val="EEECE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69CFD22-DF8C-0045-8B87-EA357A0B4D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4708" y="-361480"/>
            <a:ext cx="5357091" cy="758095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6F567F6-9D85-7CC6-0B7E-25090DAFC146}"/>
              </a:ext>
            </a:extLst>
          </p:cNvPr>
          <p:cNvSpPr txBox="1"/>
          <p:nvPr/>
        </p:nvSpPr>
        <p:spPr>
          <a:xfrm>
            <a:off x="340772" y="65459"/>
            <a:ext cx="27698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G1: August 2021</a:t>
            </a:r>
          </a:p>
        </p:txBody>
      </p:sp>
    </p:spTree>
    <p:extLst>
      <p:ext uri="{BB962C8B-B14F-4D97-AF65-F5344CB8AC3E}">
        <p14:creationId xmlns:p14="http://schemas.microsoft.com/office/powerpoint/2010/main" val="4594109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CC11AE3-4BE7-7046-8AB1-A71B0E36FE14}"/>
              </a:ext>
            </a:extLst>
          </p:cNvPr>
          <p:cNvSpPr txBox="1"/>
          <p:nvPr/>
        </p:nvSpPr>
        <p:spPr>
          <a:xfrm>
            <a:off x="5677251" y="305260"/>
            <a:ext cx="6514749" cy="36212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90575" lvl="1" indent="-380990" defTabSz="609585">
              <a:buFont typeface="Arial" panose="020B0604020202020204" pitchFamily="34" charset="0"/>
              <a:buChar char="•"/>
              <a:defRPr/>
            </a:pPr>
            <a:endParaRPr lang="en-GB" sz="1067">
              <a:solidFill>
                <a:srgbClr val="FFC000"/>
              </a:solidFill>
              <a:latin typeface="Calibri"/>
            </a:endParaRPr>
          </a:p>
          <a:p>
            <a:pPr marL="380990" indent="-380990" defTabSz="609585">
              <a:buFont typeface="Arial" panose="020B0604020202020204" pitchFamily="34" charset="0"/>
              <a:buChar char="•"/>
              <a:defRPr/>
            </a:pPr>
            <a:r>
              <a:rPr lang="en-GB" sz="2400">
                <a:solidFill>
                  <a:schemeClr val="bg2"/>
                </a:solidFill>
              </a:rPr>
              <a:t>Anslagsvis 3,3 til 3,6 milliarder mennesker      </a:t>
            </a:r>
            <a:r>
              <a:rPr lang="en-GB" sz="2133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live in contexts that are highly vulnerable to climate change”</a:t>
            </a:r>
            <a:endParaRPr lang="nb-NO" sz="1067">
              <a:solidFill>
                <a:srgbClr val="4BACC6">
                  <a:lumMod val="20000"/>
                  <a:lumOff val="80000"/>
                </a:srgbClr>
              </a:solidFill>
              <a:latin typeface="Calibri"/>
            </a:endParaRPr>
          </a:p>
          <a:p>
            <a:pPr marL="380990" indent="-380990" defTabSz="609585">
              <a:buFont typeface="Arial" panose="020B0604020202020204" pitchFamily="34" charset="0"/>
              <a:buChar char="•"/>
              <a:defRPr/>
            </a:pPr>
            <a:endParaRPr lang="en-GB" sz="1067">
              <a:solidFill>
                <a:srgbClr val="4BACC6">
                  <a:lumMod val="20000"/>
                  <a:lumOff val="80000"/>
                </a:srgbClr>
              </a:solidFill>
              <a:latin typeface="Calibri"/>
            </a:endParaRPr>
          </a:p>
          <a:p>
            <a:pPr marL="380990" indent="-380990" defTabSz="609585">
              <a:buFont typeface="Arial" panose="020B0604020202020204" pitchFamily="34" charset="0"/>
              <a:buChar char="•"/>
              <a:defRPr/>
            </a:pPr>
            <a:r>
              <a:rPr lang="en-GB" sz="2400">
                <a:solidFill>
                  <a:schemeClr val="bg2"/>
                </a:solidFill>
              </a:rPr>
              <a:t>Klimaendringene</a:t>
            </a:r>
            <a:r>
              <a:rPr lang="en-GB" sz="2400">
                <a:solidFill>
                  <a:srgbClr val="FFC000"/>
                </a:solidFill>
              </a:rPr>
              <a:t> </a:t>
            </a:r>
            <a:r>
              <a:rPr lang="en-GB" sz="2133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will increasingly put pressure on food production and access, especially in vulnerable regions, undermining food security and nutrition”</a:t>
            </a:r>
          </a:p>
          <a:p>
            <a:pPr marL="380990" indent="-380990" defTabSz="609585">
              <a:buFont typeface="Arial" panose="020B0604020202020204" pitchFamily="34" charset="0"/>
              <a:buChar char="•"/>
              <a:defRPr/>
            </a:pPr>
            <a:endParaRPr lang="en-GB" sz="1067">
              <a:solidFill>
                <a:srgbClr val="FFC000"/>
              </a:solidFill>
              <a:latin typeface="Calibri"/>
            </a:endParaRPr>
          </a:p>
          <a:p>
            <a:pPr marL="380990" indent="-380990" defTabSz="609585">
              <a:buFont typeface="Arial" panose="020B0604020202020204" pitchFamily="34" charset="0"/>
              <a:buChar char="•"/>
              <a:defRPr/>
            </a:pPr>
            <a:r>
              <a:rPr lang="en-GB" sz="2133">
                <a:solidFill>
                  <a:srgbClr val="4BACC6">
                    <a:lumMod val="20000"/>
                    <a:lumOff val="8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maendringene påvirker </a:t>
            </a:r>
            <a:r>
              <a:rPr lang="en-GB" sz="2133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all dimensions of food security”</a:t>
            </a:r>
            <a:r>
              <a:rPr lang="en-GB" sz="2133">
                <a:solidFill>
                  <a:srgbClr val="4BACC6">
                    <a:lumMod val="20000"/>
                    <a:lumOff val="8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tilgjengelighet, tilgang, kvalitet, stabilitet</a:t>
            </a:r>
            <a:endParaRPr lang="nb-NO" sz="2133">
              <a:solidFill>
                <a:srgbClr val="4BACC6">
                  <a:lumMod val="20000"/>
                  <a:lumOff val="8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FF07797-3415-82FB-8106-AE524AFDE92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454016" y="101954"/>
            <a:ext cx="5141568" cy="666876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5F02D10-66E4-F4B8-86C3-CCB7873E3A6F}"/>
              </a:ext>
            </a:extLst>
          </p:cNvPr>
          <p:cNvSpPr txBox="1"/>
          <p:nvPr/>
        </p:nvSpPr>
        <p:spPr>
          <a:xfrm>
            <a:off x="454363" y="87279"/>
            <a:ext cx="3693151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>
              <a:defRPr/>
            </a:pPr>
            <a:r>
              <a:rPr lang="nb-NO" sz="1867" b="1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G2: February 2022</a:t>
            </a:r>
          </a:p>
        </p:txBody>
      </p:sp>
    </p:spTree>
    <p:extLst>
      <p:ext uri="{BB962C8B-B14F-4D97-AF65-F5344CB8AC3E}">
        <p14:creationId xmlns:p14="http://schemas.microsoft.com/office/powerpoint/2010/main" val="11241590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CC11AE3-4BE7-7046-8AB1-A71B0E36FE14}"/>
              </a:ext>
            </a:extLst>
          </p:cNvPr>
          <p:cNvSpPr txBox="1"/>
          <p:nvPr/>
        </p:nvSpPr>
        <p:spPr>
          <a:xfrm>
            <a:off x="5889672" y="410369"/>
            <a:ext cx="6339841" cy="55921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>
              <a:defRPr/>
            </a:pPr>
            <a:r>
              <a:rPr lang="en-GB" sz="1867" b="1">
                <a:solidFill>
                  <a:srgbClr val="F79646">
                    <a:lumMod val="40000"/>
                    <a:lumOff val="60000"/>
                  </a:srgbClr>
                </a:solidFill>
                <a:latin typeface="Calibri"/>
              </a:rPr>
              <a:t>Karbonbudsjett:</a:t>
            </a:r>
            <a:r>
              <a:rPr lang="en-GB" sz="1867">
                <a:solidFill>
                  <a:srgbClr val="EEECE1"/>
                </a:solidFill>
                <a:latin typeface="Calibri"/>
              </a:rPr>
              <a:t> CO</a:t>
            </a:r>
            <a:r>
              <a:rPr lang="en-GB" sz="1867" baseline="-25000">
                <a:solidFill>
                  <a:srgbClr val="EEECE1"/>
                </a:solidFill>
                <a:latin typeface="Calibri"/>
              </a:rPr>
              <a:t>2</a:t>
            </a:r>
            <a:r>
              <a:rPr lang="en-GB" sz="1867">
                <a:solidFill>
                  <a:srgbClr val="EEECE1"/>
                </a:solidFill>
                <a:latin typeface="Calibri"/>
              </a:rPr>
              <a:t>-utslipp fra eksisterende og planlagte fossile energisystemer alene vil gi samlede CO</a:t>
            </a:r>
            <a:r>
              <a:rPr lang="en-GB" sz="1867" baseline="-25000">
                <a:solidFill>
                  <a:srgbClr val="EEECE1"/>
                </a:solidFill>
                <a:latin typeface="Calibri"/>
              </a:rPr>
              <a:t>2</a:t>
            </a:r>
            <a:r>
              <a:rPr lang="en-GB" sz="1867">
                <a:solidFill>
                  <a:srgbClr val="EEECE1"/>
                </a:solidFill>
                <a:latin typeface="Calibri"/>
              </a:rPr>
              <a:t>-utslipp som overgår </a:t>
            </a:r>
            <a:r>
              <a:rPr lang="en-GB" sz="1867">
                <a:solidFill>
                  <a:srgbClr val="EEEDE1"/>
                </a:solidFill>
                <a:latin typeface="Calibri"/>
              </a:rPr>
              <a:t>karbonbudsjettet</a:t>
            </a:r>
            <a:r>
              <a:rPr lang="en-GB" sz="1867">
                <a:solidFill>
                  <a:srgbClr val="EEECE1"/>
                </a:solidFill>
                <a:latin typeface="Calibri"/>
              </a:rPr>
              <a:t> til 1,5 grader. </a:t>
            </a:r>
          </a:p>
          <a:p>
            <a:pPr defTabSz="609585">
              <a:defRPr/>
            </a:pPr>
            <a:endParaRPr lang="en-GB" sz="1333">
              <a:solidFill>
                <a:srgbClr val="EEECE1">
                  <a:lumMod val="90000"/>
                </a:srgbClr>
              </a:solidFill>
              <a:latin typeface="Calibri"/>
            </a:endParaRPr>
          </a:p>
          <a:p>
            <a:pPr defTabSz="609585">
              <a:defRPr/>
            </a:pPr>
            <a:r>
              <a:rPr lang="en-GB" sz="1867" b="1">
                <a:solidFill>
                  <a:srgbClr val="F79646">
                    <a:lumMod val="40000"/>
                    <a:lumOff val="60000"/>
                  </a:srgbClr>
                </a:solidFill>
                <a:latin typeface="Calibri"/>
              </a:rPr>
              <a:t>Landbasert transport: </a:t>
            </a:r>
            <a:r>
              <a:rPr lang="en-GB" sz="1867">
                <a:solidFill>
                  <a:srgbClr val="EEECE1"/>
                </a:solidFill>
                <a:latin typeface="Calibri"/>
              </a:rPr>
              <a:t>Overgangen til elbiler drevet av lavutslippselektrisitet, utgjør i livsløpsperspektiv det største avkarboniseringspotensialet. </a:t>
            </a:r>
          </a:p>
          <a:p>
            <a:pPr defTabSz="609585">
              <a:defRPr/>
            </a:pPr>
            <a:endParaRPr lang="en-GB" sz="1333">
              <a:solidFill>
                <a:srgbClr val="EEECE1"/>
              </a:solidFill>
              <a:latin typeface="Calibri"/>
            </a:endParaRPr>
          </a:p>
          <a:p>
            <a:pPr defTabSz="609585">
              <a:defRPr/>
            </a:pPr>
            <a:r>
              <a:rPr lang="en-GB" sz="1867" b="1">
                <a:solidFill>
                  <a:srgbClr val="F79646">
                    <a:lumMod val="40000"/>
                    <a:lumOff val="60000"/>
                  </a:srgbClr>
                </a:solidFill>
                <a:latin typeface="Calibri"/>
              </a:rPr>
              <a:t>Forbruk:</a:t>
            </a:r>
            <a:r>
              <a:rPr lang="en-GB" sz="1867" b="1">
                <a:solidFill>
                  <a:srgbClr val="EEECE1">
                    <a:lumMod val="90000"/>
                  </a:srgbClr>
                </a:solidFill>
                <a:latin typeface="Calibri"/>
              </a:rPr>
              <a:t> </a:t>
            </a:r>
            <a:r>
              <a:rPr lang="en-GB" sz="1867">
                <a:solidFill>
                  <a:srgbClr val="EEECE1"/>
                </a:solidFill>
                <a:latin typeface="Calibri"/>
              </a:rPr>
              <a:t>40-70 prosent av utslippene kan kuttes ved endringer i etterspørselen etter tjenester og varer. </a:t>
            </a:r>
          </a:p>
          <a:p>
            <a:pPr defTabSz="609585">
              <a:defRPr/>
            </a:pPr>
            <a:endParaRPr lang="en-GB" sz="1333">
              <a:solidFill>
                <a:srgbClr val="EEECE1"/>
              </a:solidFill>
              <a:latin typeface="Calibri"/>
            </a:endParaRPr>
          </a:p>
          <a:p>
            <a:pPr defTabSz="609585">
              <a:defRPr/>
            </a:pPr>
            <a:r>
              <a:rPr lang="en-GB" sz="1867" b="1">
                <a:solidFill>
                  <a:srgbClr val="F79646">
                    <a:lumMod val="40000"/>
                    <a:lumOff val="60000"/>
                  </a:srgbClr>
                </a:solidFill>
                <a:latin typeface="Calibri"/>
              </a:rPr>
              <a:t>Kostnad:</a:t>
            </a:r>
            <a:r>
              <a:rPr lang="en-GB" sz="1867">
                <a:solidFill>
                  <a:srgbClr val="F79646">
                    <a:lumMod val="40000"/>
                    <a:lumOff val="60000"/>
                  </a:srgbClr>
                </a:solidFill>
                <a:latin typeface="Calibri"/>
              </a:rPr>
              <a:t> </a:t>
            </a:r>
          </a:p>
          <a:p>
            <a:pPr marL="990575" lvl="1" indent="-380990" defTabSz="609585">
              <a:buFontTx/>
              <a:buChar char="-"/>
              <a:defRPr/>
            </a:pPr>
            <a:r>
              <a:rPr lang="en-GB" sz="1867">
                <a:solidFill>
                  <a:srgbClr val="EEECE1"/>
                </a:solidFill>
                <a:latin typeface="Calibri"/>
              </a:rPr>
              <a:t>Tiltak under 100 dollar per tonn CO</a:t>
            </a:r>
            <a:r>
              <a:rPr lang="en-GB" sz="1867" baseline="-25000">
                <a:solidFill>
                  <a:srgbClr val="EEECE1"/>
                </a:solidFill>
                <a:latin typeface="Calibri"/>
              </a:rPr>
              <a:t>2</a:t>
            </a:r>
            <a:r>
              <a:rPr lang="en-GB" sz="1867">
                <a:solidFill>
                  <a:srgbClr val="EEECE1"/>
                </a:solidFill>
                <a:latin typeface="Calibri"/>
              </a:rPr>
              <a:t> (=dagens kvotepris) kan halvere utslippene innen 2030. </a:t>
            </a:r>
          </a:p>
          <a:p>
            <a:pPr marL="990575" lvl="1" indent="-380990" defTabSz="609585">
              <a:buFontTx/>
              <a:buChar char="-"/>
              <a:defRPr/>
            </a:pPr>
            <a:r>
              <a:rPr lang="en-GB" sz="1867">
                <a:solidFill>
                  <a:srgbClr val="EEECE1"/>
                </a:solidFill>
                <a:latin typeface="Calibri"/>
              </a:rPr>
              <a:t>Å nå togradersmålet vil koste 1,3-2,7 prosent av BNP.</a:t>
            </a:r>
          </a:p>
          <a:p>
            <a:pPr marL="990575" lvl="1" indent="-380990" defTabSz="609585">
              <a:buFontTx/>
              <a:buChar char="-"/>
              <a:defRPr/>
            </a:pPr>
            <a:r>
              <a:rPr lang="en-GB" sz="1867">
                <a:solidFill>
                  <a:srgbClr val="EEECE1"/>
                </a:solidFill>
                <a:latin typeface="Calibri"/>
              </a:rPr>
              <a:t>Virkning av tiltak vil mer enn kompensere kostnadene. </a:t>
            </a:r>
          </a:p>
          <a:p>
            <a:pPr defTabSz="609585">
              <a:defRPr/>
            </a:pPr>
            <a:endParaRPr lang="en-GB" sz="1867">
              <a:solidFill>
                <a:srgbClr val="EEECE1"/>
              </a:solidFill>
              <a:latin typeface="Calibri"/>
            </a:endParaRPr>
          </a:p>
          <a:p>
            <a:pPr defTabSz="609585">
              <a:defRPr/>
            </a:pPr>
            <a:endParaRPr lang="en-GB" sz="1867">
              <a:solidFill>
                <a:srgbClr val="EEECE1"/>
              </a:solidFill>
              <a:latin typeface="Calibri"/>
            </a:endParaRPr>
          </a:p>
          <a:p>
            <a:pPr defTabSz="609585">
              <a:defRPr/>
            </a:pPr>
            <a:endParaRPr lang="en-GB" sz="1867">
              <a:solidFill>
                <a:srgbClr val="EEECE1"/>
              </a:solidFill>
              <a:latin typeface="Calibri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69CFD22-DF8C-0045-8B87-EA357A0B4D3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481428" y="-269384"/>
            <a:ext cx="5226929" cy="739676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1C0A598-1354-5E48-8CC3-724F55FFF2F9}"/>
              </a:ext>
            </a:extLst>
          </p:cNvPr>
          <p:cNvSpPr txBox="1"/>
          <p:nvPr/>
        </p:nvSpPr>
        <p:spPr>
          <a:xfrm>
            <a:off x="692902" y="0"/>
            <a:ext cx="3693151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>
              <a:defRPr/>
            </a:pPr>
            <a:r>
              <a:rPr lang="nb-NO" sz="1867" b="1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G3: April 2022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AFA4A70-8D59-EF32-CD0E-AF6C94A59C35}"/>
              </a:ext>
            </a:extLst>
          </p:cNvPr>
          <p:cNvSpPr/>
          <p:nvPr/>
        </p:nvSpPr>
        <p:spPr>
          <a:xfrm>
            <a:off x="4720491" y="6415991"/>
            <a:ext cx="7509021" cy="4207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609585">
              <a:defRPr/>
            </a:pPr>
            <a:r>
              <a:rPr lang="nb-NO" sz="1067">
                <a:solidFill>
                  <a:prstClr val="white"/>
                </a:solidFill>
                <a:latin typeface="Calibri"/>
              </a:rPr>
              <a:t>https://energiogklima.no/nyhet/ny-rapport-fra-klimapanelet-na-er-det-opp-til-politikerne</a:t>
            </a:r>
          </a:p>
          <a:p>
            <a:pPr algn="r" defTabSz="609585">
              <a:defRPr/>
            </a:pPr>
            <a:r>
              <a:rPr lang="nb-NO" sz="1067">
                <a:solidFill>
                  <a:prstClr val="white"/>
                </a:solidFill>
                <a:latin typeface="Calibri"/>
              </a:rPr>
              <a:t>https://www.theguardian.com/environment/2022/apr/04/final-warning-what-does-the-ipcc-third-report-instalment-say</a:t>
            </a:r>
          </a:p>
        </p:txBody>
      </p:sp>
    </p:spTree>
    <p:extLst>
      <p:ext uri="{BB962C8B-B14F-4D97-AF65-F5344CB8AC3E}">
        <p14:creationId xmlns:p14="http://schemas.microsoft.com/office/powerpoint/2010/main" val="26246819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CF68573-A8F2-0741-A024-C00EF21E94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12191999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6C2C405-EAFA-F245-A5BD-83430B168C3F}"/>
              </a:ext>
            </a:extLst>
          </p:cNvPr>
          <p:cNvSpPr/>
          <p:nvPr/>
        </p:nvSpPr>
        <p:spPr>
          <a:xfrm>
            <a:off x="0" y="0"/>
            <a:ext cx="12192000" cy="6762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BFD1187-3493-5143-8F80-911649F0B152}"/>
              </a:ext>
            </a:extLst>
          </p:cNvPr>
          <p:cNvSpPr txBox="1"/>
          <p:nvPr/>
        </p:nvSpPr>
        <p:spPr>
          <a:xfrm>
            <a:off x="0" y="225268"/>
            <a:ext cx="12192000" cy="86177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2012-2021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3F9CBDA-F718-BE4D-B94A-8FF98D480029}"/>
              </a:ext>
            </a:extLst>
          </p:cNvPr>
          <p:cNvSpPr txBox="1"/>
          <p:nvPr/>
        </p:nvSpPr>
        <p:spPr>
          <a:xfrm>
            <a:off x="8017565" y="4005185"/>
            <a:ext cx="4094607" cy="1651671"/>
          </a:xfrm>
          <a:prstGeom prst="rect">
            <a:avLst/>
          </a:prstGeom>
          <a:solidFill>
            <a:schemeClr val="tx1"/>
          </a:solidFill>
          <a:effectLst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lobal, årsmidlet oppvarming på</a:t>
            </a:r>
          </a:p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933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ca.) 1.2 </a:t>
            </a:r>
            <a:r>
              <a:rPr kumimoji="0" lang="en-GB" sz="2933" b="1" i="0" u="none" strike="noStrike" kern="1200" cap="none" spc="0" normalizeH="0" baseline="3000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</a:t>
            </a:r>
            <a:r>
              <a:rPr kumimoji="0" lang="en-GB" sz="2933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 </a:t>
            </a:r>
          </a:p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den førindustriell tid</a:t>
            </a:r>
          </a:p>
        </p:txBody>
      </p:sp>
    </p:spTree>
    <p:extLst>
      <p:ext uri="{BB962C8B-B14F-4D97-AF65-F5344CB8AC3E}">
        <p14:creationId xmlns:p14="http://schemas.microsoft.com/office/powerpoint/2010/main" val="348255367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0ED292A-4A2F-7345-85E6-EB12DA1FC11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4588588" cy="68580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3DEE574-DB75-74D3-8D6D-6B7975257F64}"/>
              </a:ext>
            </a:extLst>
          </p:cNvPr>
          <p:cNvSpPr txBox="1"/>
          <p:nvPr/>
        </p:nvSpPr>
        <p:spPr>
          <a:xfrm>
            <a:off x="4521200" y="742123"/>
            <a:ext cx="7670800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5333" b="1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stimert, global oppvarming: 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200" b="1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2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	</a:t>
            </a:r>
            <a:r>
              <a:rPr kumimoji="0" lang="nb-NO" sz="3200" b="1" i="0" u="none" strike="noStrike" kern="1200" cap="none" spc="0" normalizeH="0" baseline="0" noProof="0">
                <a:ln>
                  <a:noFill/>
                </a:ln>
                <a:solidFill>
                  <a:srgbClr val="1F497D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e-COP26: </a:t>
            </a:r>
            <a:r>
              <a:rPr kumimoji="0" lang="nb-NO" sz="3200" b="1" i="0" u="none" strike="noStrike" kern="1200" cap="none" spc="0" normalizeH="0" baseline="0" noProof="0">
                <a:ln>
                  <a:noFill/>
                </a:ln>
                <a:solidFill>
                  <a:srgbClr val="EEECE1">
                    <a:lumMod val="9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	 </a:t>
            </a:r>
            <a:r>
              <a:rPr kumimoji="0" lang="nb-NO" sz="4267" b="1" i="0" u="sng" strike="noStrike" kern="1200" cap="none" spc="0" normalizeH="0" baseline="0" noProof="0">
                <a:ln>
                  <a:noFill/>
                </a:ln>
                <a:solidFill>
                  <a:srgbClr val="C0504D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+2,7 </a:t>
            </a:r>
            <a:r>
              <a:rPr kumimoji="0" lang="nb-NO" sz="4267" b="1" i="0" u="sng" strike="noStrike" kern="1200" cap="none" spc="0" normalizeH="0" baseline="30000" noProof="0">
                <a:ln>
                  <a:noFill/>
                </a:ln>
                <a:solidFill>
                  <a:srgbClr val="C0504D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</a:t>
            </a:r>
            <a:r>
              <a:rPr kumimoji="0" lang="nb-NO" sz="4267" b="1" i="0" u="sng" strike="noStrike" kern="1200" cap="none" spc="0" normalizeH="0" baseline="0" noProof="0">
                <a:ln>
                  <a:noFill/>
                </a:ln>
                <a:solidFill>
                  <a:srgbClr val="C0504D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</a:t>
            </a:r>
            <a:r>
              <a:rPr kumimoji="0" lang="nb-NO" sz="3200" b="1" i="0" u="none" strike="noStrike" kern="1200" cap="none" spc="0" normalizeH="0" baseline="0" noProof="0">
                <a:ln>
                  <a:noFill/>
                </a:ln>
                <a:solidFill>
                  <a:srgbClr val="C0504D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</a:t>
            </a:r>
            <a:r>
              <a:rPr kumimoji="0" lang="nb-NO" sz="1333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  <a:r>
              <a:rPr kumimoji="0" lang="nb-NO" sz="3200" b="1" i="0" u="none" strike="noStrike" kern="1200" cap="none" spc="0" normalizeH="0" baseline="0" noProof="0">
                <a:ln>
                  <a:noFill/>
                </a:ln>
                <a:solidFill>
                  <a:srgbClr val="1F497D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2,0-3,6 </a:t>
            </a:r>
            <a:r>
              <a:rPr kumimoji="0" lang="nb-NO" sz="3200" b="1" i="0" u="none" strike="noStrike" kern="1200" cap="none" spc="0" normalizeH="0" baseline="30000" noProof="0">
                <a:ln>
                  <a:noFill/>
                </a:ln>
                <a:solidFill>
                  <a:srgbClr val="1F497D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</a:t>
            </a:r>
            <a:r>
              <a:rPr kumimoji="0" lang="nb-NO" sz="3200" b="1" i="0" u="none" strike="noStrike" kern="1200" cap="none" spc="0" normalizeH="0" baseline="0" noProof="0">
                <a:ln>
                  <a:noFill/>
                </a:ln>
                <a:solidFill>
                  <a:srgbClr val="1F497D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)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200" b="1" i="0" u="none" strike="noStrike" kern="1200" cap="none" spc="0" normalizeH="0" baseline="0" noProof="0">
                <a:ln>
                  <a:noFill/>
                </a:ln>
                <a:solidFill>
                  <a:srgbClr val="EEECE1">
                    <a:lumMod val="9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	</a:t>
            </a:r>
            <a:r>
              <a:rPr kumimoji="0" lang="nb-NO" sz="3200" b="1" i="0" u="none" strike="noStrike" kern="1200" cap="none" spc="0" normalizeH="0" baseline="0" noProof="0">
                <a:ln>
                  <a:noFill/>
                </a:ln>
                <a:solidFill>
                  <a:srgbClr val="1F497D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st-COP26: </a:t>
            </a:r>
            <a:r>
              <a:rPr kumimoji="0" lang="nb-NO" sz="4267" b="1" i="0" u="sng" strike="noStrike" kern="1200" cap="none" spc="0" normalizeH="0" baseline="0" noProof="0">
                <a:ln>
                  <a:noFill/>
                </a:ln>
                <a:solidFill>
                  <a:srgbClr val="C0504D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+2,4 </a:t>
            </a:r>
            <a:r>
              <a:rPr kumimoji="0" lang="nb-NO" sz="4267" b="1" i="0" u="sng" strike="noStrike" kern="1200" cap="none" spc="0" normalizeH="0" baseline="30000" noProof="0">
                <a:ln>
                  <a:noFill/>
                </a:ln>
                <a:solidFill>
                  <a:srgbClr val="C0504D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</a:t>
            </a:r>
            <a:r>
              <a:rPr kumimoji="0" lang="nb-NO" sz="4267" b="1" i="0" u="sng" strike="noStrike" kern="1200" cap="none" spc="0" normalizeH="0" baseline="0" noProof="0">
                <a:ln>
                  <a:noFill/>
                </a:ln>
                <a:solidFill>
                  <a:srgbClr val="C0504D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</a:t>
            </a:r>
            <a:r>
              <a:rPr kumimoji="0" lang="nb-NO" sz="4267" b="1" i="0" u="none" strike="noStrike" kern="1200" cap="none" spc="0" normalizeH="0" baseline="0" noProof="0">
                <a:ln>
                  <a:noFill/>
                </a:ln>
                <a:solidFill>
                  <a:srgbClr val="C0504D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</a:t>
            </a:r>
            <a:r>
              <a:rPr kumimoji="0" lang="nb-NO" sz="3200" b="1" i="0" u="none" strike="noStrike" kern="1200" cap="none" spc="0" normalizeH="0" baseline="0" noProof="0">
                <a:ln>
                  <a:noFill/>
                </a:ln>
                <a:solidFill>
                  <a:srgbClr val="1F497D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1,8-3,3 </a:t>
            </a:r>
            <a:r>
              <a:rPr kumimoji="0" lang="nb-NO" sz="3200" b="1" i="0" u="none" strike="noStrike" kern="1200" cap="none" spc="0" normalizeH="0" baseline="30000" noProof="0">
                <a:ln>
                  <a:noFill/>
                </a:ln>
                <a:solidFill>
                  <a:srgbClr val="1F497D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</a:t>
            </a:r>
            <a:r>
              <a:rPr kumimoji="0" lang="nb-NO" sz="3200" b="1" i="0" u="none" strike="noStrike" kern="1200" cap="none" spc="0" normalizeH="0" baseline="0" noProof="0">
                <a:ln>
                  <a:noFill/>
                </a:ln>
                <a:solidFill>
                  <a:srgbClr val="1F497D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)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200" b="1" i="0" u="none" strike="noStrike" kern="1200" cap="none" spc="0" normalizeH="0" baseline="0" noProof="0">
              <a:ln>
                <a:noFill/>
              </a:ln>
              <a:solidFill>
                <a:srgbClr val="EEECE1">
                  <a:lumMod val="2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D3A7229-F082-3AEC-8C4E-D2033F7CC86E}"/>
              </a:ext>
            </a:extLst>
          </p:cNvPr>
          <p:cNvSpPr/>
          <p:nvPr/>
        </p:nvSpPr>
        <p:spPr>
          <a:xfrm>
            <a:off x="3969835" y="6570742"/>
            <a:ext cx="822216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67" b="1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ttps://www.carbonbrief.org/cop26-key-outcomes-agreed-at-the-un-climate-talks-in-glasgow</a:t>
            </a:r>
          </a:p>
        </p:txBody>
      </p:sp>
    </p:spTree>
    <p:extLst>
      <p:ext uri="{BB962C8B-B14F-4D97-AF65-F5344CB8AC3E}">
        <p14:creationId xmlns:p14="http://schemas.microsoft.com/office/powerpoint/2010/main" val="31646532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88355EA-913C-0E41-94FD-72EFC8E6181F}"/>
              </a:ext>
            </a:extLst>
          </p:cNvPr>
          <p:cNvSpPr txBox="1"/>
          <p:nvPr/>
        </p:nvSpPr>
        <p:spPr>
          <a:xfrm>
            <a:off x="0" y="658369"/>
            <a:ext cx="12192000" cy="171322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333" b="1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atus for utslipp </a:t>
            </a:r>
          </a:p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</a:t>
            </a:r>
            <a:r>
              <a:rPr kumimoji="0" lang="en-GB" sz="3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nenlands</a:t>
            </a:r>
            <a:r>
              <a:rPr kumimoji="0" lang="en-GB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3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tslipp</a:t>
            </a:r>
            <a:r>
              <a:rPr kumimoji="0" lang="en-GB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Norge)</a:t>
            </a:r>
          </a:p>
        </p:txBody>
      </p:sp>
    </p:spTree>
    <p:extLst>
      <p:ext uri="{BB962C8B-B14F-4D97-AF65-F5344CB8AC3E}">
        <p14:creationId xmlns:p14="http://schemas.microsoft.com/office/powerpoint/2010/main" val="12624966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03</TotalTime>
  <Words>703</Words>
  <Application>Microsoft Macintosh PowerPoint</Application>
  <PresentationFormat>Widescreen</PresentationFormat>
  <Paragraphs>100</Paragraphs>
  <Slides>1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1" baseType="lpstr">
      <vt:lpstr>Arial</vt:lpstr>
      <vt:lpstr>Calibri</vt:lpstr>
      <vt:lpstr>1_Office Theme</vt:lpstr>
      <vt:lpstr>14_Office Theme</vt:lpstr>
      <vt:lpstr>3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lge Drange</dc:creator>
  <cp:lastModifiedBy>Helge Drange</cp:lastModifiedBy>
  <cp:revision>28</cp:revision>
  <dcterms:created xsi:type="dcterms:W3CDTF">2022-11-02T14:18:34Z</dcterms:created>
  <dcterms:modified xsi:type="dcterms:W3CDTF">2022-11-03T19:34:39Z</dcterms:modified>
</cp:coreProperties>
</file>